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9"/>
  </p:notesMasterIdLst>
  <p:sldIdLst>
    <p:sldId id="256" r:id="rId5"/>
    <p:sldId id="257" r:id="rId6"/>
    <p:sldId id="260" r:id="rId7"/>
    <p:sldId id="261" r:id="rId8"/>
    <p:sldId id="262" r:id="rId9"/>
    <p:sldId id="258" r:id="rId10"/>
    <p:sldId id="259" r:id="rId11"/>
    <p:sldId id="263" r:id="rId12"/>
    <p:sldId id="264" r:id="rId13"/>
    <p:sldId id="265" r:id="rId14"/>
    <p:sldId id="266" r:id="rId15"/>
    <p:sldId id="267" r:id="rId16"/>
    <p:sldId id="268" r:id="rId17"/>
    <p:sldId id="269" r:id="rId18"/>
  </p:sldIdLst>
  <p:sldSz cx="9144000" cy="5143500" type="screen16x9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ACC"/>
    <a:srgbClr val="EAE767"/>
    <a:srgbClr val="82AFBB"/>
    <a:srgbClr val="FFED00"/>
    <a:srgbClr val="DDDD2B"/>
    <a:srgbClr val="212D38"/>
    <a:srgbClr val="2E3B49"/>
    <a:srgbClr val="000000"/>
    <a:srgbClr val="56554B"/>
    <a:srgbClr val="2C3F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4D9E18-7C02-4FED-81EC-9D52A77225EA}" v="3" dt="2023-06-30T08:57:08.9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18" autoAdjust="0"/>
    <p:restoredTop sz="91087" autoAdjust="0"/>
  </p:normalViewPr>
  <p:slideViewPr>
    <p:cSldViewPr>
      <p:cViewPr varScale="1">
        <p:scale>
          <a:sx n="145" d="100"/>
          <a:sy n="145" d="100"/>
        </p:scale>
        <p:origin x="762" y="12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67" d="100"/>
          <a:sy n="67" d="100"/>
        </p:scale>
        <p:origin x="226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kus Schmid" userId="467f500b-9d9b-40a8-b639-810b3717fab8" providerId="ADAL" clId="{DC4D9E18-7C02-4FED-81EC-9D52A77225EA}"/>
    <pc:docChg chg="undo custSel addSld modSld sldOrd">
      <pc:chgData name="Markus Schmid" userId="467f500b-9d9b-40a8-b639-810b3717fab8" providerId="ADAL" clId="{DC4D9E18-7C02-4FED-81EC-9D52A77225EA}" dt="2023-06-30T11:01:34.687" v="3010" actId="20577"/>
      <pc:docMkLst>
        <pc:docMk/>
      </pc:docMkLst>
      <pc:sldChg chg="modSp mod">
        <pc:chgData name="Markus Schmid" userId="467f500b-9d9b-40a8-b639-810b3717fab8" providerId="ADAL" clId="{DC4D9E18-7C02-4FED-81EC-9D52A77225EA}" dt="2023-06-30T08:11:39.871" v="131" actId="20577"/>
        <pc:sldMkLst>
          <pc:docMk/>
          <pc:sldMk cId="1542474393" sldId="257"/>
        </pc:sldMkLst>
        <pc:spChg chg="mod">
          <ac:chgData name="Markus Schmid" userId="467f500b-9d9b-40a8-b639-810b3717fab8" providerId="ADAL" clId="{DC4D9E18-7C02-4FED-81EC-9D52A77225EA}" dt="2023-06-30T08:11:39.871" v="131" actId="20577"/>
          <ac:spMkLst>
            <pc:docMk/>
            <pc:sldMk cId="1542474393" sldId="257"/>
            <ac:spMk id="2" creationId="{4DD404E0-922A-A6A8-7E44-AB685A174EA7}"/>
          </ac:spMkLst>
        </pc:spChg>
        <pc:spChg chg="mod">
          <ac:chgData name="Markus Schmid" userId="467f500b-9d9b-40a8-b639-810b3717fab8" providerId="ADAL" clId="{DC4D9E18-7C02-4FED-81EC-9D52A77225EA}" dt="2023-06-30T08:11:08.141" v="15" actId="20577"/>
          <ac:spMkLst>
            <pc:docMk/>
            <pc:sldMk cId="1542474393" sldId="257"/>
            <ac:spMk id="4" creationId="{6B1D0BE8-B0B7-411B-8916-D104CF6E1DB2}"/>
          </ac:spMkLst>
        </pc:spChg>
      </pc:sldChg>
      <pc:sldChg chg="modSp add mod">
        <pc:chgData name="Markus Schmid" userId="467f500b-9d9b-40a8-b639-810b3717fab8" providerId="ADAL" clId="{DC4D9E18-7C02-4FED-81EC-9D52A77225EA}" dt="2023-06-30T08:13:34.671" v="289" actId="20577"/>
        <pc:sldMkLst>
          <pc:docMk/>
          <pc:sldMk cId="2864770896" sldId="260"/>
        </pc:sldMkLst>
        <pc:spChg chg="mod">
          <ac:chgData name="Markus Schmid" userId="467f500b-9d9b-40a8-b639-810b3717fab8" providerId="ADAL" clId="{DC4D9E18-7C02-4FED-81EC-9D52A77225EA}" dt="2023-06-30T08:13:34.671" v="289" actId="20577"/>
          <ac:spMkLst>
            <pc:docMk/>
            <pc:sldMk cId="2864770896" sldId="260"/>
            <ac:spMk id="2" creationId="{4DD404E0-922A-A6A8-7E44-AB685A174EA7}"/>
          </ac:spMkLst>
        </pc:spChg>
      </pc:sldChg>
      <pc:sldChg chg="addSp delSp modSp add mod">
        <pc:chgData name="Markus Schmid" userId="467f500b-9d9b-40a8-b639-810b3717fab8" providerId="ADAL" clId="{DC4D9E18-7C02-4FED-81EC-9D52A77225EA}" dt="2023-06-30T08:48:53.796" v="1532" actId="20577"/>
        <pc:sldMkLst>
          <pc:docMk/>
          <pc:sldMk cId="3223886546" sldId="261"/>
        </pc:sldMkLst>
        <pc:spChg chg="mod">
          <ac:chgData name="Markus Schmid" userId="467f500b-9d9b-40a8-b639-810b3717fab8" providerId="ADAL" clId="{DC4D9E18-7C02-4FED-81EC-9D52A77225EA}" dt="2023-06-30T08:48:53.796" v="1532" actId="20577"/>
          <ac:spMkLst>
            <pc:docMk/>
            <pc:sldMk cId="3223886546" sldId="261"/>
            <ac:spMk id="2" creationId="{4DD404E0-922A-A6A8-7E44-AB685A174EA7}"/>
          </ac:spMkLst>
        </pc:spChg>
        <pc:spChg chg="add del">
          <ac:chgData name="Markus Schmid" userId="467f500b-9d9b-40a8-b639-810b3717fab8" providerId="ADAL" clId="{DC4D9E18-7C02-4FED-81EC-9D52A77225EA}" dt="2023-06-30T08:30:54.536" v="626"/>
          <ac:spMkLst>
            <pc:docMk/>
            <pc:sldMk cId="3223886546" sldId="261"/>
            <ac:spMk id="3" creationId="{41C7FF38-E69E-3325-F8DE-4931D5CDD67B}"/>
          </ac:spMkLst>
        </pc:spChg>
        <pc:spChg chg="mod">
          <ac:chgData name="Markus Schmid" userId="467f500b-9d9b-40a8-b639-810b3717fab8" providerId="ADAL" clId="{DC4D9E18-7C02-4FED-81EC-9D52A77225EA}" dt="2023-06-30T08:14:01.044" v="325" actId="20577"/>
          <ac:spMkLst>
            <pc:docMk/>
            <pc:sldMk cId="3223886546" sldId="261"/>
            <ac:spMk id="4" creationId="{6B1D0BE8-B0B7-411B-8916-D104CF6E1DB2}"/>
          </ac:spMkLst>
        </pc:spChg>
      </pc:sldChg>
      <pc:sldChg chg="addSp delSp modSp add mod">
        <pc:chgData name="Markus Schmid" userId="467f500b-9d9b-40a8-b639-810b3717fab8" providerId="ADAL" clId="{DC4D9E18-7C02-4FED-81EC-9D52A77225EA}" dt="2023-06-30T08:39:37.853" v="708" actId="1076"/>
        <pc:sldMkLst>
          <pc:docMk/>
          <pc:sldMk cId="1025650501" sldId="262"/>
        </pc:sldMkLst>
        <pc:spChg chg="del mod">
          <ac:chgData name="Markus Schmid" userId="467f500b-9d9b-40a8-b639-810b3717fab8" providerId="ADAL" clId="{DC4D9E18-7C02-4FED-81EC-9D52A77225EA}" dt="2023-06-30T08:32:23.119" v="700"/>
          <ac:spMkLst>
            <pc:docMk/>
            <pc:sldMk cId="1025650501" sldId="262"/>
            <ac:spMk id="2" creationId="{4DD404E0-922A-A6A8-7E44-AB685A174EA7}"/>
          </ac:spMkLst>
        </pc:spChg>
        <pc:spChg chg="mod">
          <ac:chgData name="Markus Schmid" userId="467f500b-9d9b-40a8-b639-810b3717fab8" providerId="ADAL" clId="{DC4D9E18-7C02-4FED-81EC-9D52A77225EA}" dt="2023-06-30T08:32:15.712" v="696" actId="20577"/>
          <ac:spMkLst>
            <pc:docMk/>
            <pc:sldMk cId="1025650501" sldId="262"/>
            <ac:spMk id="4" creationId="{6B1D0BE8-B0B7-411B-8916-D104CF6E1DB2}"/>
          </ac:spMkLst>
        </pc:spChg>
        <pc:picChg chg="add mod">
          <ac:chgData name="Markus Schmid" userId="467f500b-9d9b-40a8-b639-810b3717fab8" providerId="ADAL" clId="{DC4D9E18-7C02-4FED-81EC-9D52A77225EA}" dt="2023-06-30T08:33:17.729" v="702" actId="1076"/>
          <ac:picMkLst>
            <pc:docMk/>
            <pc:sldMk cId="1025650501" sldId="262"/>
            <ac:picMk id="5" creationId="{B7AF2B63-5245-8036-349C-318D18172B8D}"/>
          </ac:picMkLst>
        </pc:picChg>
        <pc:picChg chg="add mod">
          <ac:chgData name="Markus Schmid" userId="467f500b-9d9b-40a8-b639-810b3717fab8" providerId="ADAL" clId="{DC4D9E18-7C02-4FED-81EC-9D52A77225EA}" dt="2023-06-30T08:39:13.900" v="704" actId="1076"/>
          <ac:picMkLst>
            <pc:docMk/>
            <pc:sldMk cId="1025650501" sldId="262"/>
            <ac:picMk id="7" creationId="{0D8BD61F-FEA6-4F96-DD61-0A949B7346B5}"/>
          </ac:picMkLst>
        </pc:picChg>
        <pc:picChg chg="add mod">
          <ac:chgData name="Markus Schmid" userId="467f500b-9d9b-40a8-b639-810b3717fab8" providerId="ADAL" clId="{DC4D9E18-7C02-4FED-81EC-9D52A77225EA}" dt="2023-06-30T08:39:37.853" v="708" actId="1076"/>
          <ac:picMkLst>
            <pc:docMk/>
            <pc:sldMk cId="1025650501" sldId="262"/>
            <ac:picMk id="9" creationId="{1F5D5B07-F20E-976E-5545-B1667470E981}"/>
          </ac:picMkLst>
        </pc:picChg>
      </pc:sldChg>
      <pc:sldChg chg="addSp modSp add mod ord">
        <pc:chgData name="Markus Schmid" userId="467f500b-9d9b-40a8-b639-810b3717fab8" providerId="ADAL" clId="{DC4D9E18-7C02-4FED-81EC-9D52A77225EA}" dt="2023-06-30T09:41:30.824" v="1717" actId="20577"/>
        <pc:sldMkLst>
          <pc:docMk/>
          <pc:sldMk cId="4219744240" sldId="263"/>
        </pc:sldMkLst>
        <pc:spChg chg="mod">
          <ac:chgData name="Markus Schmid" userId="467f500b-9d9b-40a8-b639-810b3717fab8" providerId="ADAL" clId="{DC4D9E18-7C02-4FED-81EC-9D52A77225EA}" dt="2023-06-30T09:41:30.824" v="1717" actId="20577"/>
          <ac:spMkLst>
            <pc:docMk/>
            <pc:sldMk cId="4219744240" sldId="263"/>
            <ac:spMk id="2" creationId="{4DD404E0-922A-A6A8-7E44-AB685A174EA7}"/>
          </ac:spMkLst>
        </pc:spChg>
        <pc:spChg chg="mod">
          <ac:chgData name="Markus Schmid" userId="467f500b-9d9b-40a8-b639-810b3717fab8" providerId="ADAL" clId="{DC4D9E18-7C02-4FED-81EC-9D52A77225EA}" dt="2023-06-30T08:45:18.004" v="1200" actId="20577"/>
          <ac:spMkLst>
            <pc:docMk/>
            <pc:sldMk cId="4219744240" sldId="263"/>
            <ac:spMk id="4" creationId="{6B1D0BE8-B0B7-411B-8916-D104CF6E1DB2}"/>
          </ac:spMkLst>
        </pc:spChg>
        <pc:picChg chg="add mod">
          <ac:chgData name="Markus Schmid" userId="467f500b-9d9b-40a8-b639-810b3717fab8" providerId="ADAL" clId="{DC4D9E18-7C02-4FED-81EC-9D52A77225EA}" dt="2023-06-30T09:41:13.086" v="1645" actId="1076"/>
          <ac:picMkLst>
            <pc:docMk/>
            <pc:sldMk cId="4219744240" sldId="263"/>
            <ac:picMk id="5" creationId="{400D5C01-07F5-E316-5787-A2B669AB1A40}"/>
          </ac:picMkLst>
        </pc:picChg>
      </pc:sldChg>
      <pc:sldChg chg="modSp add mod">
        <pc:chgData name="Markus Schmid" userId="467f500b-9d9b-40a8-b639-810b3717fab8" providerId="ADAL" clId="{DC4D9E18-7C02-4FED-81EC-9D52A77225EA}" dt="2023-06-30T08:58:17.650" v="1624" actId="20577"/>
        <pc:sldMkLst>
          <pc:docMk/>
          <pc:sldMk cId="3686588499" sldId="264"/>
        </pc:sldMkLst>
        <pc:spChg chg="mod">
          <ac:chgData name="Markus Schmid" userId="467f500b-9d9b-40a8-b639-810b3717fab8" providerId="ADAL" clId="{DC4D9E18-7C02-4FED-81EC-9D52A77225EA}" dt="2023-06-30T08:58:17.650" v="1624" actId="20577"/>
          <ac:spMkLst>
            <pc:docMk/>
            <pc:sldMk cId="3686588499" sldId="264"/>
            <ac:spMk id="2" creationId="{4DD404E0-922A-A6A8-7E44-AB685A174EA7}"/>
          </ac:spMkLst>
        </pc:spChg>
      </pc:sldChg>
      <pc:sldChg chg="modSp add mod">
        <pc:chgData name="Markus Schmid" userId="467f500b-9d9b-40a8-b639-810b3717fab8" providerId="ADAL" clId="{DC4D9E18-7C02-4FED-81EC-9D52A77225EA}" dt="2023-06-30T10:26:40.584" v="2415" actId="20577"/>
        <pc:sldMkLst>
          <pc:docMk/>
          <pc:sldMk cId="389362919" sldId="265"/>
        </pc:sldMkLst>
        <pc:spChg chg="mod">
          <ac:chgData name="Markus Schmid" userId="467f500b-9d9b-40a8-b639-810b3717fab8" providerId="ADAL" clId="{DC4D9E18-7C02-4FED-81EC-9D52A77225EA}" dt="2023-06-30T10:26:40.584" v="2415" actId="20577"/>
          <ac:spMkLst>
            <pc:docMk/>
            <pc:sldMk cId="389362919" sldId="265"/>
            <ac:spMk id="2" creationId="{4DD404E0-922A-A6A8-7E44-AB685A174EA7}"/>
          </ac:spMkLst>
        </pc:spChg>
        <pc:spChg chg="mod">
          <ac:chgData name="Markus Schmid" userId="467f500b-9d9b-40a8-b639-810b3717fab8" providerId="ADAL" clId="{DC4D9E18-7C02-4FED-81EC-9D52A77225EA}" dt="2023-06-30T09:41:59.644" v="1755" actId="20577"/>
          <ac:spMkLst>
            <pc:docMk/>
            <pc:sldMk cId="389362919" sldId="265"/>
            <ac:spMk id="4" creationId="{6B1D0BE8-B0B7-411B-8916-D104CF6E1DB2}"/>
          </ac:spMkLst>
        </pc:spChg>
      </pc:sldChg>
      <pc:sldChg chg="addSp modSp add mod">
        <pc:chgData name="Markus Schmid" userId="467f500b-9d9b-40a8-b639-810b3717fab8" providerId="ADAL" clId="{DC4D9E18-7C02-4FED-81EC-9D52A77225EA}" dt="2023-06-30T10:33:01.868" v="2462" actId="1076"/>
        <pc:sldMkLst>
          <pc:docMk/>
          <pc:sldMk cId="1253944582" sldId="266"/>
        </pc:sldMkLst>
        <pc:spChg chg="mod">
          <ac:chgData name="Markus Schmid" userId="467f500b-9d9b-40a8-b639-810b3717fab8" providerId="ADAL" clId="{DC4D9E18-7C02-4FED-81EC-9D52A77225EA}" dt="2023-06-30T10:27:08.776" v="2442" actId="5793"/>
          <ac:spMkLst>
            <pc:docMk/>
            <pc:sldMk cId="1253944582" sldId="266"/>
            <ac:spMk id="2" creationId="{4DD404E0-922A-A6A8-7E44-AB685A174EA7}"/>
          </ac:spMkLst>
        </pc:spChg>
        <pc:spChg chg="mod">
          <ac:chgData name="Markus Schmid" userId="467f500b-9d9b-40a8-b639-810b3717fab8" providerId="ADAL" clId="{DC4D9E18-7C02-4FED-81EC-9D52A77225EA}" dt="2023-06-30T10:27:02.950" v="2440" actId="20577"/>
          <ac:spMkLst>
            <pc:docMk/>
            <pc:sldMk cId="1253944582" sldId="266"/>
            <ac:spMk id="4" creationId="{6B1D0BE8-B0B7-411B-8916-D104CF6E1DB2}"/>
          </ac:spMkLst>
        </pc:spChg>
        <pc:picChg chg="add mod">
          <ac:chgData name="Markus Schmid" userId="467f500b-9d9b-40a8-b639-810b3717fab8" providerId="ADAL" clId="{DC4D9E18-7C02-4FED-81EC-9D52A77225EA}" dt="2023-06-30T10:33:01.868" v="2462" actId="1076"/>
          <ac:picMkLst>
            <pc:docMk/>
            <pc:sldMk cId="1253944582" sldId="266"/>
            <ac:picMk id="5" creationId="{48AB7E09-2D68-51DB-CE08-BA441FB3652F}"/>
          </ac:picMkLst>
        </pc:picChg>
      </pc:sldChg>
      <pc:sldChg chg="addSp modSp add mod">
        <pc:chgData name="Markus Schmid" userId="467f500b-9d9b-40a8-b639-810b3717fab8" providerId="ADAL" clId="{DC4D9E18-7C02-4FED-81EC-9D52A77225EA}" dt="2023-06-30T10:33:48.851" v="2472" actId="1076"/>
        <pc:sldMkLst>
          <pc:docMk/>
          <pc:sldMk cId="2315665386" sldId="267"/>
        </pc:sldMkLst>
        <pc:spChg chg="mod">
          <ac:chgData name="Markus Schmid" userId="467f500b-9d9b-40a8-b639-810b3717fab8" providerId="ADAL" clId="{DC4D9E18-7C02-4FED-81EC-9D52A77225EA}" dt="2023-06-30T10:33:19.103" v="2470" actId="20577"/>
          <ac:spMkLst>
            <pc:docMk/>
            <pc:sldMk cId="2315665386" sldId="267"/>
            <ac:spMk id="4" creationId="{6B1D0BE8-B0B7-411B-8916-D104CF6E1DB2}"/>
          </ac:spMkLst>
        </pc:spChg>
        <pc:picChg chg="add mod">
          <ac:chgData name="Markus Schmid" userId="467f500b-9d9b-40a8-b639-810b3717fab8" providerId="ADAL" clId="{DC4D9E18-7C02-4FED-81EC-9D52A77225EA}" dt="2023-06-30T10:28:29.326" v="2445" actId="1076"/>
          <ac:picMkLst>
            <pc:docMk/>
            <pc:sldMk cId="2315665386" sldId="267"/>
            <ac:picMk id="5" creationId="{B19E0BC2-2C21-9F88-F932-A2336EDA0ACB}"/>
          </ac:picMkLst>
        </pc:picChg>
        <pc:picChg chg="add mod">
          <ac:chgData name="Markus Schmid" userId="467f500b-9d9b-40a8-b639-810b3717fab8" providerId="ADAL" clId="{DC4D9E18-7C02-4FED-81EC-9D52A77225EA}" dt="2023-06-30T10:33:48.851" v="2472" actId="1076"/>
          <ac:picMkLst>
            <pc:docMk/>
            <pc:sldMk cId="2315665386" sldId="267"/>
            <ac:picMk id="7" creationId="{46D66AC7-7C98-07FC-125A-5AB30AEDA697}"/>
          </ac:picMkLst>
        </pc:picChg>
      </pc:sldChg>
      <pc:sldChg chg="modSp add mod ord">
        <pc:chgData name="Markus Schmid" userId="467f500b-9d9b-40a8-b639-810b3717fab8" providerId="ADAL" clId="{DC4D9E18-7C02-4FED-81EC-9D52A77225EA}" dt="2023-06-30T10:51:18.089" v="2810" actId="20577"/>
        <pc:sldMkLst>
          <pc:docMk/>
          <pc:sldMk cId="1395469045" sldId="268"/>
        </pc:sldMkLst>
        <pc:spChg chg="mod">
          <ac:chgData name="Markus Schmid" userId="467f500b-9d9b-40a8-b639-810b3717fab8" providerId="ADAL" clId="{DC4D9E18-7C02-4FED-81EC-9D52A77225EA}" dt="2023-06-30T10:51:18.089" v="2810" actId="20577"/>
          <ac:spMkLst>
            <pc:docMk/>
            <pc:sldMk cId="1395469045" sldId="268"/>
            <ac:spMk id="2" creationId="{4DD404E0-922A-A6A8-7E44-AB685A174EA7}"/>
          </ac:spMkLst>
        </pc:spChg>
        <pc:spChg chg="mod">
          <ac:chgData name="Markus Schmid" userId="467f500b-9d9b-40a8-b639-810b3717fab8" providerId="ADAL" clId="{DC4D9E18-7C02-4FED-81EC-9D52A77225EA}" dt="2023-06-30T10:44:12.668" v="2601" actId="20577"/>
          <ac:spMkLst>
            <pc:docMk/>
            <pc:sldMk cId="1395469045" sldId="268"/>
            <ac:spMk id="4" creationId="{6B1D0BE8-B0B7-411B-8916-D104CF6E1DB2}"/>
          </ac:spMkLst>
        </pc:spChg>
      </pc:sldChg>
      <pc:sldChg chg="modSp add mod ord">
        <pc:chgData name="Markus Schmid" userId="467f500b-9d9b-40a8-b639-810b3717fab8" providerId="ADAL" clId="{DC4D9E18-7C02-4FED-81EC-9D52A77225EA}" dt="2023-06-30T11:01:34.687" v="3010" actId="20577"/>
        <pc:sldMkLst>
          <pc:docMk/>
          <pc:sldMk cId="2477999278" sldId="269"/>
        </pc:sldMkLst>
        <pc:spChg chg="mod">
          <ac:chgData name="Markus Schmid" userId="467f500b-9d9b-40a8-b639-810b3717fab8" providerId="ADAL" clId="{DC4D9E18-7C02-4FED-81EC-9D52A77225EA}" dt="2023-06-30T11:01:34.687" v="3010" actId="20577"/>
          <ac:spMkLst>
            <pc:docMk/>
            <pc:sldMk cId="2477999278" sldId="269"/>
            <ac:spMk id="2" creationId="{4DD404E0-922A-A6A8-7E44-AB685A174EA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433027-2443-471F-99FE-107ADBE26C41}" type="datetimeFigureOut">
              <a:rPr lang="de-DE" smtClean="0"/>
              <a:t>30.06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CC87D8-E9D9-4EAE-B0DA-12E8C172A616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77664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paso-solutions.com/" TargetMode="External"/><Relationship Id="rId3" Type="http://schemas.openxmlformats.org/officeDocument/2006/relationships/oleObject" Target="../embeddings/oleObject9.bin"/><Relationship Id="rId7" Type="http://schemas.openxmlformats.org/officeDocument/2006/relationships/hyperlink" Target="mailto:office@paso-solutions.com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0_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11560" y="3201820"/>
            <a:ext cx="7776864" cy="378042"/>
          </a:xfrm>
          <a:noFill/>
        </p:spPr>
        <p:txBody>
          <a:bodyPr>
            <a:noAutofit/>
          </a:bodyPr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 | Datum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560" y="2499742"/>
            <a:ext cx="7772400" cy="487877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>
              <a:defRPr sz="3200" b="1" baseline="0">
                <a:solidFill>
                  <a:schemeClr val="bg1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0F70EFF8-01E2-40AC-A66F-077035E38747}"/>
              </a:ext>
            </a:extLst>
          </p:cNvPr>
          <p:cNvGrpSpPr/>
          <p:nvPr userDrawn="1"/>
        </p:nvGrpSpPr>
        <p:grpSpPr>
          <a:xfrm>
            <a:off x="611560" y="3087807"/>
            <a:ext cx="7772400" cy="101062"/>
            <a:chOff x="611560" y="3087807"/>
            <a:chExt cx="7772400" cy="101062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FB5B2809-BC74-4389-BD64-342EECB4D7F4}"/>
                </a:ext>
              </a:extLst>
            </p:cNvPr>
            <p:cNvSpPr/>
            <p:nvPr userDrawn="1"/>
          </p:nvSpPr>
          <p:spPr>
            <a:xfrm rot="10800000">
              <a:off x="611560" y="3087807"/>
              <a:ext cx="7772400" cy="28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alpha val="0"/>
                  </a:schemeClr>
                </a:gs>
                <a:gs pos="18000">
                  <a:schemeClr val="bg2"/>
                </a:gs>
                <a:gs pos="100000">
                  <a:schemeClr val="bg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sp>
          <p:nvSpPr>
            <p:cNvPr id="9" name="Gleichschenkliges Dreieck 8">
              <a:extLst>
                <a:ext uri="{FF2B5EF4-FFF2-40B4-BE49-F238E27FC236}">
                  <a16:creationId xmlns:a16="http://schemas.microsoft.com/office/drawing/2014/main" id="{AF85EB42-EFDE-4F92-9525-ED35207A1002}"/>
                </a:ext>
              </a:extLst>
            </p:cNvPr>
            <p:cNvSpPr/>
            <p:nvPr userDrawn="1"/>
          </p:nvSpPr>
          <p:spPr>
            <a:xfrm rot="10800000">
              <a:off x="971600" y="3116861"/>
              <a:ext cx="144016" cy="72008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0" name="Grafik 9" descr="Ein Bild, das ClipArt, Text, Objekt enthält.&#10;&#10;Automatisch generierte Beschreibung">
            <a:extLst>
              <a:ext uri="{FF2B5EF4-FFF2-40B4-BE49-F238E27FC236}">
                <a16:creationId xmlns:a16="http://schemas.microsoft.com/office/drawing/2014/main" id="{A2C16890-43B5-4795-AC3C-6B3BC78E4DC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6256" y="380384"/>
            <a:ext cx="1512000" cy="31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104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5284">
          <p15:clr>
            <a:srgbClr val="FBAE40"/>
          </p15:clr>
        </p15:guide>
        <p15:guide id="4" pos="38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85FF1D6D-782C-4C7B-92AF-B4A536DAB688}"/>
              </a:ext>
            </a:extLst>
          </p:cNvPr>
          <p:cNvSpPr/>
          <p:nvPr userDrawn="1"/>
        </p:nvSpPr>
        <p:spPr>
          <a:xfrm>
            <a:off x="1519409" y="4652984"/>
            <a:ext cx="7624590" cy="490517"/>
          </a:xfrm>
          <a:custGeom>
            <a:avLst/>
            <a:gdLst>
              <a:gd name="connsiteX0" fmla="*/ 503029 w 7624590"/>
              <a:gd name="connsiteY0" fmla="*/ 0 h 490517"/>
              <a:gd name="connsiteX1" fmla="*/ 7624590 w 7624590"/>
              <a:gd name="connsiteY1" fmla="*/ 0 h 490517"/>
              <a:gd name="connsiteX2" fmla="*/ 7624590 w 7624590"/>
              <a:gd name="connsiteY2" fmla="*/ 490517 h 490517"/>
              <a:gd name="connsiteX3" fmla="*/ 0 w 7624590"/>
              <a:gd name="connsiteY3" fmla="*/ 490517 h 490517"/>
              <a:gd name="connsiteX4" fmla="*/ 8845 w 7624590"/>
              <a:gd name="connsiteY4" fmla="*/ 402772 h 490517"/>
              <a:gd name="connsiteX5" fmla="*/ 503029 w 7624590"/>
              <a:gd name="connsiteY5" fmla="*/ 0 h 490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24590" h="490517">
                <a:moveTo>
                  <a:pt x="503029" y="0"/>
                </a:moveTo>
                <a:lnTo>
                  <a:pt x="7624590" y="0"/>
                </a:lnTo>
                <a:lnTo>
                  <a:pt x="7624590" y="490517"/>
                </a:lnTo>
                <a:lnTo>
                  <a:pt x="0" y="490517"/>
                </a:lnTo>
                <a:lnTo>
                  <a:pt x="8845" y="402772"/>
                </a:lnTo>
                <a:cubicBezTo>
                  <a:pt x="55882" y="172911"/>
                  <a:pt x="259263" y="0"/>
                  <a:pt x="50302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0520" y="1114110"/>
            <a:ext cx="8469952" cy="3402328"/>
          </a:xfrm>
        </p:spPr>
        <p:txBody>
          <a:bodyPr vert="horz" lIns="108000" tIns="45720" rIns="108000" bIns="45720" rtlCol="0">
            <a:noAutofit/>
          </a:bodyPr>
          <a:lstStyle>
            <a:lvl1pPr algn="l">
              <a:defRPr lang="de-DE" sz="1600" baseline="0" dirty="0">
                <a:solidFill>
                  <a:schemeClr val="tx2"/>
                </a:solidFill>
                <a:ea typeface="DIN OT" panose="020B0504020201010104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805D5935-04B1-448F-8015-F064D20D1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49495" y="4768318"/>
            <a:ext cx="719047" cy="273844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OT" panose="020B0504020201010104" pitchFamily="34" charset="0"/>
              </a:defRPr>
            </a:lvl1pPr>
          </a:lstStyle>
          <a:p>
            <a:fld id="{32AA8A44-3F8B-4801-91F4-E7A1FBF97AC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53673386-D983-433B-810C-E50030BF7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9727" y="4768318"/>
            <a:ext cx="6614819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DIN OT" panose="020B0504020201010104" pitchFamily="34" charset="0"/>
              </a:defRPr>
            </a:lvl1pPr>
          </a:lstStyle>
          <a:p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065537B1-0E43-4D86-BDD1-CB2EBEA5AA20}"/>
              </a:ext>
            </a:extLst>
          </p:cNvPr>
          <p:cNvCxnSpPr>
            <a:cxnSpLocks/>
          </p:cNvCxnSpPr>
          <p:nvPr userDrawn="1"/>
        </p:nvCxnSpPr>
        <p:spPr>
          <a:xfrm>
            <a:off x="8669926" y="4768318"/>
            <a:ext cx="0" cy="27384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>
            <a:extLst>
              <a:ext uri="{FF2B5EF4-FFF2-40B4-BE49-F238E27FC236}">
                <a16:creationId xmlns:a16="http://schemas.microsoft.com/office/drawing/2014/main" id="{20AE01C0-BC6C-45C3-AC10-2ABBA112B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20" y="123478"/>
            <a:ext cx="8469952" cy="9353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pic>
        <p:nvPicPr>
          <p:cNvPr id="11" name="Grafik 10" descr="Ein Bild, das Uhr, sitzend, Schild, Anzeige enthält.&#10;&#10;Automatisch generierte Beschreibung">
            <a:extLst>
              <a:ext uri="{FF2B5EF4-FFF2-40B4-BE49-F238E27FC236}">
                <a16:creationId xmlns:a16="http://schemas.microsoft.com/office/drawing/2014/main" id="{969403D0-E302-44B3-9BE7-3EDFE5BA95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3680" y="4798800"/>
            <a:ext cx="1022889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471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758">
          <p15:clr>
            <a:srgbClr val="FBAE40"/>
          </p15:clr>
        </p15:guide>
        <p15:guide id="5" pos="29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08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orient="horz" pos="758">
          <p15:clr>
            <a:srgbClr val="FBAE40"/>
          </p15:clr>
        </p15:guide>
        <p15:guide id="3" pos="295">
          <p15:clr>
            <a:srgbClr val="FBAE40"/>
          </p15:clr>
        </p15:guide>
        <p15:guide id="4" pos="546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chluss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D151D828-383B-4BD7-B589-B9A324AA6442}"/>
              </a:ext>
            </a:extLst>
          </p:cNvPr>
          <p:cNvGrpSpPr/>
          <p:nvPr userDrawn="1"/>
        </p:nvGrpSpPr>
        <p:grpSpPr>
          <a:xfrm>
            <a:off x="611188" y="3867894"/>
            <a:ext cx="7772400" cy="100829"/>
            <a:chOff x="611560" y="4160439"/>
            <a:chExt cx="7772400" cy="100829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423995A-586F-4A40-B894-1415CDA16A04}"/>
                </a:ext>
              </a:extLst>
            </p:cNvPr>
            <p:cNvSpPr/>
            <p:nvPr userDrawn="1"/>
          </p:nvSpPr>
          <p:spPr>
            <a:xfrm rot="10800000">
              <a:off x="611560" y="4160439"/>
              <a:ext cx="7772400" cy="28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alpha val="0"/>
                  </a:schemeClr>
                </a:gs>
                <a:gs pos="18000">
                  <a:schemeClr val="bg2"/>
                </a:gs>
                <a:gs pos="100000">
                  <a:schemeClr val="bg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sp>
          <p:nvSpPr>
            <p:cNvPr id="22" name="Gleichschenkliges Dreieck 21">
              <a:extLst>
                <a:ext uri="{FF2B5EF4-FFF2-40B4-BE49-F238E27FC236}">
                  <a16:creationId xmlns:a16="http://schemas.microsoft.com/office/drawing/2014/main" id="{45B5F657-051D-42E5-8ED7-DC356181AB1F}"/>
                </a:ext>
              </a:extLst>
            </p:cNvPr>
            <p:cNvSpPr/>
            <p:nvPr userDrawn="1"/>
          </p:nvSpPr>
          <p:spPr>
            <a:xfrm rot="10800000">
              <a:off x="971972" y="4189260"/>
              <a:ext cx="144016" cy="72008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" name="Grafik 52">
            <a:extLst>
              <a:ext uri="{FF2B5EF4-FFF2-40B4-BE49-F238E27FC236}">
                <a16:creationId xmlns:a16="http://schemas.microsoft.com/office/drawing/2014/main" id="{5BF0450D-4379-45C7-8AD2-A6E60FAB8C5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4016083" y="1761270"/>
            <a:ext cx="499302" cy="346682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EF110911-51F8-40D7-8F27-2F0144B0BE9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5516464" y="1707654"/>
            <a:ext cx="473086" cy="433352"/>
          </a:xfrm>
          <a:prstGeom prst="rect">
            <a:avLst/>
          </a:prstGeom>
        </p:spPr>
      </p:pic>
      <p:sp>
        <p:nvSpPr>
          <p:cNvPr id="55" name="Titel 2">
            <a:extLst>
              <a:ext uri="{FF2B5EF4-FFF2-40B4-BE49-F238E27FC236}">
                <a16:creationId xmlns:a16="http://schemas.microsoft.com/office/drawing/2014/main" id="{6232CB2C-D556-46FF-B6E4-E361A456D8B2}"/>
              </a:ext>
            </a:extLst>
          </p:cNvPr>
          <p:cNvSpPr txBox="1">
            <a:spLocks/>
          </p:cNvSpPr>
          <p:nvPr userDrawn="1"/>
        </p:nvSpPr>
        <p:spPr>
          <a:xfrm>
            <a:off x="2339752" y="2193708"/>
            <a:ext cx="900563" cy="378042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de-AT" sz="1400" dirty="0">
                <a:solidFill>
                  <a:schemeClr val="bg1"/>
                </a:solidFill>
              </a:rPr>
              <a:t>analyze</a:t>
            </a:r>
          </a:p>
          <a:p>
            <a:pPr algn="ctr"/>
            <a:r>
              <a:rPr lang="de-AT" sz="1400" b="0" dirty="0">
                <a:solidFill>
                  <a:schemeClr val="bg1"/>
                </a:solidFill>
              </a:rPr>
              <a:t>data</a:t>
            </a:r>
          </a:p>
        </p:txBody>
      </p:sp>
      <p:sp>
        <p:nvSpPr>
          <p:cNvPr id="56" name="Titel 2">
            <a:extLst>
              <a:ext uri="{FF2B5EF4-FFF2-40B4-BE49-F238E27FC236}">
                <a16:creationId xmlns:a16="http://schemas.microsoft.com/office/drawing/2014/main" id="{4D4935C1-B7FF-4D0E-AF94-9A87DC4BFCAB}"/>
              </a:ext>
            </a:extLst>
          </p:cNvPr>
          <p:cNvSpPr txBox="1">
            <a:spLocks/>
          </p:cNvSpPr>
          <p:nvPr userDrawn="1"/>
        </p:nvSpPr>
        <p:spPr>
          <a:xfrm>
            <a:off x="3815453" y="2196174"/>
            <a:ext cx="900563" cy="378042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de-AT" sz="1400" dirty="0">
                <a:solidFill>
                  <a:schemeClr val="bg1"/>
                </a:solidFill>
              </a:rPr>
              <a:t>develop</a:t>
            </a:r>
          </a:p>
          <a:p>
            <a:pPr algn="ctr"/>
            <a:r>
              <a:rPr lang="de-AT" sz="1400" b="0" dirty="0">
                <a:solidFill>
                  <a:schemeClr val="bg1"/>
                </a:solidFill>
              </a:rPr>
              <a:t>software</a:t>
            </a:r>
          </a:p>
        </p:txBody>
      </p:sp>
      <p:sp>
        <p:nvSpPr>
          <p:cNvPr id="57" name="Titel 2">
            <a:extLst>
              <a:ext uri="{FF2B5EF4-FFF2-40B4-BE49-F238E27FC236}">
                <a16:creationId xmlns:a16="http://schemas.microsoft.com/office/drawing/2014/main" id="{75D27468-5FDB-4712-A59D-B2023A401F1C}"/>
              </a:ext>
            </a:extLst>
          </p:cNvPr>
          <p:cNvSpPr txBox="1">
            <a:spLocks/>
          </p:cNvSpPr>
          <p:nvPr userDrawn="1"/>
        </p:nvSpPr>
        <p:spPr>
          <a:xfrm>
            <a:off x="5076056" y="2193707"/>
            <a:ext cx="1353903" cy="568347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de-AT" sz="1400" dirty="0">
                <a:solidFill>
                  <a:schemeClr val="bg1"/>
                </a:solidFill>
              </a:rPr>
              <a:t>optimize</a:t>
            </a:r>
          </a:p>
          <a:p>
            <a:pPr algn="ctr"/>
            <a:r>
              <a:rPr lang="de-AT" sz="1400" b="0" dirty="0">
                <a:solidFill>
                  <a:schemeClr val="bg1"/>
                </a:solidFill>
              </a:rPr>
              <a:t>processes</a:t>
            </a:r>
          </a:p>
        </p:txBody>
      </p:sp>
      <p:sp>
        <p:nvSpPr>
          <p:cNvPr id="58" name="Titel 2">
            <a:extLst>
              <a:ext uri="{FF2B5EF4-FFF2-40B4-BE49-F238E27FC236}">
                <a16:creationId xmlns:a16="http://schemas.microsoft.com/office/drawing/2014/main" id="{6287817B-43A1-4BA7-8520-9F99F7A1553F}"/>
              </a:ext>
            </a:extLst>
          </p:cNvPr>
          <p:cNvSpPr txBox="1">
            <a:spLocks/>
          </p:cNvSpPr>
          <p:nvPr userDrawn="1"/>
        </p:nvSpPr>
        <p:spPr>
          <a:xfrm>
            <a:off x="6056164" y="3991621"/>
            <a:ext cx="2332260" cy="890694"/>
          </a:xfrm>
          <a:prstGeom prst="rect">
            <a:avLst/>
          </a:prstGeom>
          <a:noFill/>
        </p:spPr>
        <p:txBody>
          <a:bodyPr vert="horz" lIns="91440" tIns="45720" rIns="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pPr algn="r"/>
            <a:r>
              <a:rPr lang="de-AT" sz="900" dirty="0">
                <a:solidFill>
                  <a:schemeClr val="bg1"/>
                </a:solidFill>
              </a:rPr>
              <a:t>Pataky Software GmbH</a:t>
            </a:r>
          </a:p>
          <a:p>
            <a:pPr algn="r"/>
            <a:r>
              <a:rPr lang="de-AT" sz="900" b="0" dirty="0">
                <a:solidFill>
                  <a:schemeClr val="bg1"/>
                </a:solidFill>
              </a:rPr>
              <a:t>Dorfstraße 11, 4921 </a:t>
            </a:r>
            <a:r>
              <a:rPr lang="de-AT" sz="900" b="0" dirty="0" err="1">
                <a:solidFill>
                  <a:schemeClr val="bg1"/>
                </a:solidFill>
              </a:rPr>
              <a:t>Hohenzell</a:t>
            </a:r>
            <a:endParaRPr lang="de-AT" sz="900" b="0" dirty="0">
              <a:solidFill>
                <a:schemeClr val="bg1"/>
              </a:solidFill>
            </a:endParaRPr>
          </a:p>
          <a:p>
            <a:pPr algn="r"/>
            <a:endParaRPr lang="de-AT" sz="900" b="0" dirty="0">
              <a:solidFill>
                <a:schemeClr val="bg1"/>
              </a:solidFill>
            </a:endParaRPr>
          </a:p>
          <a:p>
            <a:pPr algn="r"/>
            <a:r>
              <a:rPr lang="de-AT" sz="900" b="0" dirty="0">
                <a:solidFill>
                  <a:schemeClr val="bg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ffice@paso-solutions.com</a:t>
            </a:r>
            <a:r>
              <a:rPr lang="de-AT" sz="900" b="0" dirty="0">
                <a:solidFill>
                  <a:schemeClr val="bg2"/>
                </a:solidFill>
              </a:rPr>
              <a:t> </a:t>
            </a:r>
          </a:p>
          <a:p>
            <a:pPr algn="r"/>
            <a:r>
              <a:rPr lang="de-AT" sz="900" b="0" dirty="0">
                <a:solidFill>
                  <a:schemeClr val="bg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so-solutions.com</a:t>
            </a:r>
            <a:endParaRPr lang="de-AT" sz="900" b="0" dirty="0">
              <a:solidFill>
                <a:schemeClr val="bg2"/>
              </a:solidFill>
            </a:endParaRPr>
          </a:p>
          <a:p>
            <a:pPr algn="r"/>
            <a:endParaRPr lang="de-AT" sz="1000" b="0" dirty="0">
              <a:solidFill>
                <a:schemeClr val="bg1"/>
              </a:solidFill>
            </a:endParaRPr>
          </a:p>
        </p:txBody>
      </p:sp>
      <p:pic>
        <p:nvPicPr>
          <p:cNvPr id="60" name="Grafik 59" descr="Ein Bild, das ClipArt, Text, Objekt enthält.&#10;&#10;Automatisch generierte Beschreibung">
            <a:extLst>
              <a:ext uri="{FF2B5EF4-FFF2-40B4-BE49-F238E27FC236}">
                <a16:creationId xmlns:a16="http://schemas.microsoft.com/office/drawing/2014/main" id="{DA08EDE7-A9C9-4BCD-BAFF-306C4EE1376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6256" y="380384"/>
            <a:ext cx="1512000" cy="31915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A512A1C-3AA0-497E-87C3-991501B6FF8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2533848" y="1738651"/>
            <a:ext cx="512370" cy="463330"/>
          </a:xfrm>
          <a:prstGeom prst="rect">
            <a:avLst/>
          </a:prstGeom>
        </p:spPr>
      </p:pic>
      <p:sp>
        <p:nvSpPr>
          <p:cNvPr id="15" name="Titel 2">
            <a:extLst>
              <a:ext uri="{FF2B5EF4-FFF2-40B4-BE49-F238E27FC236}">
                <a16:creationId xmlns:a16="http://schemas.microsoft.com/office/drawing/2014/main" id="{A94B6E7A-DB17-43C3-B644-3C886957E793}"/>
              </a:ext>
            </a:extLst>
          </p:cNvPr>
          <p:cNvSpPr txBox="1">
            <a:spLocks/>
          </p:cNvSpPr>
          <p:nvPr userDrawn="1"/>
        </p:nvSpPr>
        <p:spPr>
          <a:xfrm>
            <a:off x="611188" y="3979348"/>
            <a:ext cx="7772400" cy="378042"/>
          </a:xfrm>
          <a:prstGeom prst="rect">
            <a:avLst/>
          </a:prstGeom>
          <a:noFill/>
        </p:spPr>
        <p:txBody>
          <a:bodyPr vert="horz" lIns="7200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r>
              <a:rPr lang="de-AT" sz="1400" b="1" dirty="0">
                <a:solidFill>
                  <a:schemeClr val="bg1"/>
                </a:solidFill>
              </a:rPr>
              <a:t>NEW TECHNOLOGIES. NEW CHANCES.</a:t>
            </a:r>
          </a:p>
          <a:p>
            <a:r>
              <a:rPr lang="de-AT" sz="900" b="0" dirty="0">
                <a:solidFill>
                  <a:schemeClr val="bg1"/>
                </a:solidFill>
              </a:rPr>
              <a:t>State-</a:t>
            </a:r>
            <a:r>
              <a:rPr lang="de-AT" sz="900" b="0" dirty="0" err="1">
                <a:solidFill>
                  <a:schemeClr val="bg1"/>
                </a:solidFill>
              </a:rPr>
              <a:t>of</a:t>
            </a:r>
            <a:r>
              <a:rPr lang="de-AT" sz="900" b="0" dirty="0">
                <a:solidFill>
                  <a:schemeClr val="bg1"/>
                </a:solidFill>
              </a:rPr>
              <a:t>-</a:t>
            </a:r>
            <a:r>
              <a:rPr lang="de-AT" sz="900" b="0" dirty="0" err="1">
                <a:solidFill>
                  <a:schemeClr val="bg1"/>
                </a:solidFill>
              </a:rPr>
              <a:t>the</a:t>
            </a:r>
            <a:r>
              <a:rPr lang="de-AT" sz="900" b="0" dirty="0">
                <a:solidFill>
                  <a:schemeClr val="bg1"/>
                </a:solidFill>
              </a:rPr>
              <a:t>-Art für echten Wettbewerbsvorsprung</a:t>
            </a:r>
          </a:p>
        </p:txBody>
      </p:sp>
    </p:spTree>
    <p:extLst>
      <p:ext uri="{BB962C8B-B14F-4D97-AF65-F5344CB8AC3E}">
        <p14:creationId xmlns:p14="http://schemas.microsoft.com/office/powerpoint/2010/main" val="324971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5284">
          <p15:clr>
            <a:srgbClr val="FBAE40"/>
          </p15:clr>
        </p15:guide>
        <p15:guide id="4" pos="3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 -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44CE33CB-0806-4562-B38A-7661FD040C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0986" y="4659982"/>
            <a:ext cx="7603014" cy="490517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203325"/>
            <a:ext cx="8496622" cy="3313113"/>
          </a:xfrm>
        </p:spPr>
        <p:txBody>
          <a:bodyPr lIns="0">
            <a:noAutofit/>
          </a:bodyPr>
          <a:lstStyle>
            <a:lvl1pPr marL="180975" indent="-180975">
              <a:buFont typeface="Wingdings" panose="05000000000000000000" pitchFamily="2" charset="2"/>
              <a:buChar char="§"/>
              <a:defRPr sz="1600" baseline="0">
                <a:solidFill>
                  <a:schemeClr val="tx2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93AC287-8CC0-4FE8-9852-6D7E86282E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6847" y="4767263"/>
            <a:ext cx="1090059" cy="3247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FA3D06-D0CB-42CD-95BF-73E17BE39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805D5935-04B1-448F-8015-F064D20D1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61141" y="4768318"/>
            <a:ext cx="359009" cy="273844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  <a:latin typeface="DIN OT" panose="020B0504020201010104" pitchFamily="34" charset="0"/>
              </a:defRPr>
            </a:lvl1pPr>
          </a:lstStyle>
          <a:p>
            <a:fld id="{32AA8A44-3F8B-4801-91F4-E7A1FBF97AC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53673386-D983-433B-810C-E50030BF7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35696" y="4768318"/>
            <a:ext cx="6470496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DIN OT" panose="020B0504020201010104" pitchFamily="34" charset="0"/>
              </a:defRPr>
            </a:lvl1pPr>
          </a:lstStyle>
          <a:p>
            <a:r>
              <a:rPr lang="de-DE"/>
              <a:t>Wissensaustausch Angular</a:t>
            </a:r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065537B1-0E43-4D86-BDD1-CB2EBEA5AA20}"/>
              </a:ext>
            </a:extLst>
          </p:cNvPr>
          <p:cNvCxnSpPr>
            <a:cxnSpLocks/>
          </p:cNvCxnSpPr>
          <p:nvPr userDrawn="1"/>
        </p:nvCxnSpPr>
        <p:spPr>
          <a:xfrm>
            <a:off x="8381572" y="4768318"/>
            <a:ext cx="0" cy="27384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693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pos="204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75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44CE33CB-0806-4562-B38A-7661FD040C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0986" y="4659982"/>
            <a:ext cx="7603014" cy="490517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203325"/>
            <a:ext cx="8496622" cy="3313113"/>
          </a:xfrm>
        </p:spPr>
        <p:txBody>
          <a:bodyPr>
            <a:noAutofit/>
          </a:bodyPr>
          <a:lstStyle>
            <a:lvl1pPr marL="180975" indent="-180975">
              <a:buFont typeface="Wingdings" panose="05000000000000000000" pitchFamily="2" charset="2"/>
              <a:buChar char="§"/>
              <a:defRPr sz="1600" baseline="0">
                <a:solidFill>
                  <a:schemeClr val="tx2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93AC287-8CC0-4FE8-9852-6D7E86282E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847" y="4767263"/>
            <a:ext cx="1090059" cy="3247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FA3D06-D0CB-42CD-95BF-73E17BE39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805D5935-04B1-448F-8015-F064D20D1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61141" y="4768318"/>
            <a:ext cx="359009" cy="273844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  <a:latin typeface="DIN OT" panose="020B0504020201010104" pitchFamily="34" charset="0"/>
              </a:defRPr>
            </a:lvl1pPr>
          </a:lstStyle>
          <a:p>
            <a:fld id="{32AA8A44-3F8B-4801-91F4-E7A1FBF97AC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53673386-D983-433B-810C-E50030BF7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35696" y="4768318"/>
            <a:ext cx="6470496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DIN OT" panose="020B0504020201010104" pitchFamily="34" charset="0"/>
              </a:defRPr>
            </a:lvl1pPr>
          </a:lstStyle>
          <a:p>
            <a:r>
              <a:rPr lang="de-DE"/>
              <a:t>Wissenstransfer Angular</a:t>
            </a:r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065537B1-0E43-4D86-BDD1-CB2EBEA5AA20}"/>
              </a:ext>
            </a:extLst>
          </p:cNvPr>
          <p:cNvCxnSpPr>
            <a:cxnSpLocks/>
          </p:cNvCxnSpPr>
          <p:nvPr userDrawn="1"/>
        </p:nvCxnSpPr>
        <p:spPr>
          <a:xfrm>
            <a:off x="8381572" y="4768318"/>
            <a:ext cx="0" cy="273844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912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pos="204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75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Abschnitts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11560" y="4281940"/>
            <a:ext cx="7776864" cy="378042"/>
          </a:xfrm>
          <a:noFill/>
        </p:spPr>
        <p:txBody>
          <a:bodyPr>
            <a:noAutofit/>
          </a:bodyPr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560" y="2211710"/>
            <a:ext cx="7772400" cy="1856029"/>
          </a:xfrm>
          <a:prstGeom prst="rect">
            <a:avLst/>
          </a:prstGeom>
          <a:noFill/>
        </p:spPr>
        <p:txBody>
          <a:bodyPr lIns="90000" anchor="b">
            <a:noAutofit/>
          </a:bodyPr>
          <a:lstStyle>
            <a:lvl1pPr algn="l">
              <a:defRPr sz="3200" b="1" baseline="0">
                <a:solidFill>
                  <a:schemeClr val="bg1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r>
              <a:rPr lang="de-DE" dirty="0"/>
              <a:t>Abschnittstitel mit Untertitel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9647BF4-9FF9-4DE2-AAB2-9D1822293384}"/>
              </a:ext>
            </a:extLst>
          </p:cNvPr>
          <p:cNvGrpSpPr/>
          <p:nvPr userDrawn="1"/>
        </p:nvGrpSpPr>
        <p:grpSpPr>
          <a:xfrm>
            <a:off x="611560" y="4160439"/>
            <a:ext cx="7772400" cy="100829"/>
            <a:chOff x="611560" y="4160439"/>
            <a:chExt cx="7772400" cy="10082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D319EA4-CFFE-4BCD-A76F-FD99C26D50C7}"/>
                </a:ext>
              </a:extLst>
            </p:cNvPr>
            <p:cNvSpPr/>
            <p:nvPr userDrawn="1"/>
          </p:nvSpPr>
          <p:spPr>
            <a:xfrm rot="10800000">
              <a:off x="611560" y="4160439"/>
              <a:ext cx="7772400" cy="28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alpha val="0"/>
                  </a:schemeClr>
                </a:gs>
                <a:gs pos="18000">
                  <a:schemeClr val="bg2"/>
                </a:gs>
                <a:gs pos="100000">
                  <a:schemeClr val="bg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sp>
          <p:nvSpPr>
            <p:cNvPr id="9" name="Gleichschenkliges Dreieck 8">
              <a:extLst>
                <a:ext uri="{FF2B5EF4-FFF2-40B4-BE49-F238E27FC236}">
                  <a16:creationId xmlns:a16="http://schemas.microsoft.com/office/drawing/2014/main" id="{823348E4-B65C-4612-997E-323C333773BB}"/>
                </a:ext>
              </a:extLst>
            </p:cNvPr>
            <p:cNvSpPr/>
            <p:nvPr userDrawn="1"/>
          </p:nvSpPr>
          <p:spPr>
            <a:xfrm rot="10800000">
              <a:off x="971600" y="4189260"/>
              <a:ext cx="144016" cy="72008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2" name="Grafik 11" descr="Ein Bild, das ClipArt, Text, Objekt enthält.&#10;&#10;Automatisch generierte Beschreibung">
            <a:extLst>
              <a:ext uri="{FF2B5EF4-FFF2-40B4-BE49-F238E27FC236}">
                <a16:creationId xmlns:a16="http://schemas.microsoft.com/office/drawing/2014/main" id="{35C8D8C6-3C5A-4D40-B1AD-F4DCC8E1D2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6256" y="380384"/>
            <a:ext cx="1512000" cy="31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45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5284">
          <p15:clr>
            <a:srgbClr val="FBAE40"/>
          </p15:clr>
        </p15:guide>
        <p15:guide id="4" pos="38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bschnitts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560" y="2211710"/>
            <a:ext cx="7772400" cy="1856029"/>
          </a:xfrm>
          <a:prstGeom prst="rect">
            <a:avLst/>
          </a:prstGeom>
          <a:noFill/>
        </p:spPr>
        <p:txBody>
          <a:bodyPr lIns="90000" anchor="b">
            <a:noAutofit/>
          </a:bodyPr>
          <a:lstStyle>
            <a:lvl1pPr algn="l">
              <a:defRPr sz="3200" b="1" baseline="0">
                <a:solidFill>
                  <a:schemeClr val="bg1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</a:lstStyle>
          <a:p>
            <a:r>
              <a:rPr lang="de-DE" dirty="0"/>
              <a:t>Abschnittstitel ohne Untertit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D319EA4-CFFE-4BCD-A76F-FD99C26D50C7}"/>
              </a:ext>
            </a:extLst>
          </p:cNvPr>
          <p:cNvSpPr/>
          <p:nvPr userDrawn="1"/>
        </p:nvSpPr>
        <p:spPr>
          <a:xfrm rot="10800000">
            <a:off x="611560" y="4160439"/>
            <a:ext cx="7772400" cy="2880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8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12" name="Grafik 11" descr="Ein Bild, das ClipArt, Text, Objekt enthält.&#10;&#10;Automatisch generierte Beschreibung">
            <a:extLst>
              <a:ext uri="{FF2B5EF4-FFF2-40B4-BE49-F238E27FC236}">
                <a16:creationId xmlns:a16="http://schemas.microsoft.com/office/drawing/2014/main" id="{35C8D8C6-3C5A-4D40-B1AD-F4DCC8E1D2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6256" y="380384"/>
            <a:ext cx="1512000" cy="31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01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5284">
          <p15:clr>
            <a:srgbClr val="FBAE40"/>
          </p15:clr>
        </p15:guide>
        <p15:guide id="4" pos="38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93C3BBBF-235D-4CD8-95C9-6CFAB51B5AC7}"/>
              </a:ext>
            </a:extLst>
          </p:cNvPr>
          <p:cNvSpPr/>
          <p:nvPr userDrawn="1"/>
        </p:nvSpPr>
        <p:spPr>
          <a:xfrm>
            <a:off x="1519409" y="4652984"/>
            <a:ext cx="7624590" cy="490517"/>
          </a:xfrm>
          <a:custGeom>
            <a:avLst/>
            <a:gdLst>
              <a:gd name="connsiteX0" fmla="*/ 503029 w 7624590"/>
              <a:gd name="connsiteY0" fmla="*/ 0 h 490517"/>
              <a:gd name="connsiteX1" fmla="*/ 7624590 w 7624590"/>
              <a:gd name="connsiteY1" fmla="*/ 0 h 490517"/>
              <a:gd name="connsiteX2" fmla="*/ 7624590 w 7624590"/>
              <a:gd name="connsiteY2" fmla="*/ 490517 h 490517"/>
              <a:gd name="connsiteX3" fmla="*/ 0 w 7624590"/>
              <a:gd name="connsiteY3" fmla="*/ 490517 h 490517"/>
              <a:gd name="connsiteX4" fmla="*/ 8845 w 7624590"/>
              <a:gd name="connsiteY4" fmla="*/ 402772 h 490517"/>
              <a:gd name="connsiteX5" fmla="*/ 503029 w 7624590"/>
              <a:gd name="connsiteY5" fmla="*/ 0 h 490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24590" h="490517">
                <a:moveTo>
                  <a:pt x="503029" y="0"/>
                </a:moveTo>
                <a:lnTo>
                  <a:pt x="7624590" y="0"/>
                </a:lnTo>
                <a:lnTo>
                  <a:pt x="7624590" y="490517"/>
                </a:lnTo>
                <a:lnTo>
                  <a:pt x="0" y="490517"/>
                </a:lnTo>
                <a:lnTo>
                  <a:pt x="8845" y="402772"/>
                </a:lnTo>
                <a:cubicBezTo>
                  <a:pt x="55882" y="172911"/>
                  <a:pt x="259263" y="0"/>
                  <a:pt x="5030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">
            <a:extLst>
              <a:ext uri="{FF2B5EF4-FFF2-40B4-BE49-F238E27FC236}">
                <a16:creationId xmlns:a16="http://schemas.microsoft.com/office/drawing/2014/main" id="{A914B9FA-46FF-4C17-9ECC-5A1328898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20" y="123478"/>
            <a:ext cx="8469630" cy="9353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pic>
        <p:nvPicPr>
          <p:cNvPr id="12" name="Grafik 11" descr="Ein Bild, das ClipArt, Text, Objekt enthält.&#10;&#10;Automatisch generierte Beschreibung">
            <a:extLst>
              <a:ext uri="{FF2B5EF4-FFF2-40B4-BE49-F238E27FC236}">
                <a16:creationId xmlns:a16="http://schemas.microsoft.com/office/drawing/2014/main" id="{389B7BF9-1E2B-492B-B18C-4B9D574D70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32" y="4799476"/>
            <a:ext cx="1008000" cy="212772"/>
          </a:xfrm>
          <a:prstGeom prst="rect">
            <a:avLst/>
          </a:prstGeom>
        </p:spPr>
      </p:pic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83159954-770B-44C2-812E-39FE37DC0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49495" y="4768318"/>
            <a:ext cx="359009" cy="273844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  <a:latin typeface="DIN OT" panose="020B0504020201010104" pitchFamily="34" charset="0"/>
              </a:defRPr>
            </a:lvl1pPr>
          </a:lstStyle>
          <a:p>
            <a:fld id="{32AA8A44-3F8B-4801-91F4-E7A1FBF97AC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AF340B7B-1F6A-4590-8A70-88DB90126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9727" y="4768318"/>
            <a:ext cx="6614819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DIN OT" panose="020B0504020201010104" pitchFamily="34" charset="0"/>
              </a:defRPr>
            </a:lvl1pPr>
          </a:lstStyle>
          <a:p>
            <a:endParaRPr lang="de-DE" dirty="0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2EC9EB1D-C2A9-4895-B932-650D78EBF94F}"/>
              </a:ext>
            </a:extLst>
          </p:cNvPr>
          <p:cNvCxnSpPr>
            <a:cxnSpLocks/>
          </p:cNvCxnSpPr>
          <p:nvPr userDrawn="1"/>
        </p:nvCxnSpPr>
        <p:spPr>
          <a:xfrm>
            <a:off x="8669926" y="4768318"/>
            <a:ext cx="0" cy="273844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1386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pos="295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75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">
            <a:extLst>
              <a:ext uri="{FF2B5EF4-FFF2-40B4-BE49-F238E27FC236}">
                <a16:creationId xmlns:a16="http://schemas.microsoft.com/office/drawing/2014/main" id="{A914B9FA-46FF-4C17-9ECC-5A1328898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20" y="123478"/>
            <a:ext cx="8469630" cy="9353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pic>
        <p:nvPicPr>
          <p:cNvPr id="12" name="Grafik 11" descr="Ein Bild, das ClipArt, Text, Objekt enthält.&#10;&#10;Automatisch generierte Beschreibung">
            <a:extLst>
              <a:ext uri="{FF2B5EF4-FFF2-40B4-BE49-F238E27FC236}">
                <a16:creationId xmlns:a16="http://schemas.microsoft.com/office/drawing/2014/main" id="{389B7BF9-1E2B-492B-B18C-4B9D574D70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7688" y="4527014"/>
            <a:ext cx="1008000" cy="21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25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pos="295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7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">
            <a:extLst>
              <a:ext uri="{FF2B5EF4-FFF2-40B4-BE49-F238E27FC236}">
                <a16:creationId xmlns:a16="http://schemas.microsoft.com/office/drawing/2014/main" id="{A914B9FA-46FF-4C17-9ECC-5A1328898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20" y="123478"/>
            <a:ext cx="8469630" cy="9353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5340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pos="295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7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93C3BBBF-235D-4CD8-95C9-6CFAB51B5AC7}"/>
              </a:ext>
            </a:extLst>
          </p:cNvPr>
          <p:cNvSpPr/>
          <p:nvPr userDrawn="1"/>
        </p:nvSpPr>
        <p:spPr>
          <a:xfrm>
            <a:off x="1519409" y="4652984"/>
            <a:ext cx="7624590" cy="490517"/>
          </a:xfrm>
          <a:custGeom>
            <a:avLst/>
            <a:gdLst>
              <a:gd name="connsiteX0" fmla="*/ 503029 w 7624590"/>
              <a:gd name="connsiteY0" fmla="*/ 0 h 490517"/>
              <a:gd name="connsiteX1" fmla="*/ 7624590 w 7624590"/>
              <a:gd name="connsiteY1" fmla="*/ 0 h 490517"/>
              <a:gd name="connsiteX2" fmla="*/ 7624590 w 7624590"/>
              <a:gd name="connsiteY2" fmla="*/ 490517 h 490517"/>
              <a:gd name="connsiteX3" fmla="*/ 0 w 7624590"/>
              <a:gd name="connsiteY3" fmla="*/ 490517 h 490517"/>
              <a:gd name="connsiteX4" fmla="*/ 8845 w 7624590"/>
              <a:gd name="connsiteY4" fmla="*/ 402772 h 490517"/>
              <a:gd name="connsiteX5" fmla="*/ 503029 w 7624590"/>
              <a:gd name="connsiteY5" fmla="*/ 0 h 490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24590" h="490517">
                <a:moveTo>
                  <a:pt x="503029" y="0"/>
                </a:moveTo>
                <a:lnTo>
                  <a:pt x="7624590" y="0"/>
                </a:lnTo>
                <a:lnTo>
                  <a:pt x="7624590" y="490517"/>
                </a:lnTo>
                <a:lnTo>
                  <a:pt x="0" y="490517"/>
                </a:lnTo>
                <a:lnTo>
                  <a:pt x="8845" y="402772"/>
                </a:lnTo>
                <a:cubicBezTo>
                  <a:pt x="55882" y="172911"/>
                  <a:pt x="259263" y="0"/>
                  <a:pt x="5030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B0D07AF1-5AF1-4D04-BD7A-724D141CEC3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0520" y="1203325"/>
            <a:ext cx="8469952" cy="3313113"/>
          </a:xfrm>
        </p:spPr>
        <p:txBody>
          <a:bodyPr lIns="108000">
            <a:noAutofit/>
          </a:bodyPr>
          <a:lstStyle>
            <a:lvl1pPr marL="180975" indent="-180975">
              <a:buFont typeface="Wingdings" panose="05000000000000000000" pitchFamily="2" charset="2"/>
              <a:buChar char="§"/>
              <a:defRPr sz="1600" baseline="0">
                <a:solidFill>
                  <a:schemeClr val="bg1"/>
                </a:solidFill>
                <a:latin typeface="DIN OT" panose="020B0504020201010104" pitchFamily="34" charset="0"/>
                <a:ea typeface="DIN OT" panose="020B0504020201010104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D9B7AA28-4D25-4EB7-8236-F989CB74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49495" y="4768318"/>
            <a:ext cx="359009" cy="273844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  <a:latin typeface="DIN OT" panose="020B0504020201010104" pitchFamily="34" charset="0"/>
              </a:defRPr>
            </a:lvl1pPr>
          </a:lstStyle>
          <a:p>
            <a:fld id="{32AA8A44-3F8B-4801-91F4-E7A1FBF97AC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B901860B-41A1-4D66-AB0A-FC231E689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9727" y="4768318"/>
            <a:ext cx="6614819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DIN OT" panose="020B0504020201010104" pitchFamily="34" charset="0"/>
              </a:defRPr>
            </a:lvl1pPr>
          </a:lstStyle>
          <a:p>
            <a:endParaRPr lang="de-DE" dirty="0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74B3EC4E-3FF8-43F2-BB16-52E1AAFF7550}"/>
              </a:ext>
            </a:extLst>
          </p:cNvPr>
          <p:cNvCxnSpPr>
            <a:cxnSpLocks/>
          </p:cNvCxnSpPr>
          <p:nvPr userDrawn="1"/>
        </p:nvCxnSpPr>
        <p:spPr>
          <a:xfrm>
            <a:off x="8669926" y="4768318"/>
            <a:ext cx="0" cy="273844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">
            <a:extLst>
              <a:ext uri="{FF2B5EF4-FFF2-40B4-BE49-F238E27FC236}">
                <a16:creationId xmlns:a16="http://schemas.microsoft.com/office/drawing/2014/main" id="{A8F2B1D0-700A-4CA3-A82B-35E8D0E12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20" y="123478"/>
            <a:ext cx="8469630" cy="9353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pic>
        <p:nvPicPr>
          <p:cNvPr id="14" name="Grafik 13" descr="Ein Bild, das ClipArt, Text, Objekt enthält.&#10;&#10;Automatisch generierte Beschreibung">
            <a:extLst>
              <a:ext uri="{FF2B5EF4-FFF2-40B4-BE49-F238E27FC236}">
                <a16:creationId xmlns:a16="http://schemas.microsoft.com/office/drawing/2014/main" id="{0CF9170F-236F-406D-BAA8-FBC25D49A5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32" y="4799476"/>
            <a:ext cx="1008000" cy="21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87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pos="295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75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09031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5">
          <p15:clr>
            <a:srgbClr val="FBAE40"/>
          </p15:clr>
        </p15:guide>
        <p15:guide id="2" orient="horz" pos="758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284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85FF1D6D-782C-4C7B-92AF-B4A536DAB688}"/>
              </a:ext>
            </a:extLst>
          </p:cNvPr>
          <p:cNvSpPr/>
          <p:nvPr userDrawn="1"/>
        </p:nvSpPr>
        <p:spPr>
          <a:xfrm>
            <a:off x="1519409" y="4652984"/>
            <a:ext cx="7624590" cy="490517"/>
          </a:xfrm>
          <a:custGeom>
            <a:avLst/>
            <a:gdLst>
              <a:gd name="connsiteX0" fmla="*/ 503029 w 7624590"/>
              <a:gd name="connsiteY0" fmla="*/ 0 h 490517"/>
              <a:gd name="connsiteX1" fmla="*/ 7624590 w 7624590"/>
              <a:gd name="connsiteY1" fmla="*/ 0 h 490517"/>
              <a:gd name="connsiteX2" fmla="*/ 7624590 w 7624590"/>
              <a:gd name="connsiteY2" fmla="*/ 490517 h 490517"/>
              <a:gd name="connsiteX3" fmla="*/ 0 w 7624590"/>
              <a:gd name="connsiteY3" fmla="*/ 490517 h 490517"/>
              <a:gd name="connsiteX4" fmla="*/ 8845 w 7624590"/>
              <a:gd name="connsiteY4" fmla="*/ 402772 h 490517"/>
              <a:gd name="connsiteX5" fmla="*/ 503029 w 7624590"/>
              <a:gd name="connsiteY5" fmla="*/ 0 h 490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24590" h="490517">
                <a:moveTo>
                  <a:pt x="503029" y="0"/>
                </a:moveTo>
                <a:lnTo>
                  <a:pt x="7624590" y="0"/>
                </a:lnTo>
                <a:lnTo>
                  <a:pt x="7624590" y="490517"/>
                </a:lnTo>
                <a:lnTo>
                  <a:pt x="0" y="490517"/>
                </a:lnTo>
                <a:lnTo>
                  <a:pt x="8845" y="402772"/>
                </a:lnTo>
                <a:cubicBezTo>
                  <a:pt x="55882" y="172911"/>
                  <a:pt x="259263" y="0"/>
                  <a:pt x="50302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FA3D06-D0CB-42CD-95BF-73E17BE39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20" y="123478"/>
            <a:ext cx="8469952" cy="9353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71D68964-F284-49E0-92A6-877BB46FCC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49495" y="4768318"/>
            <a:ext cx="359009" cy="273844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OT" panose="020B0504020201010104" pitchFamily="34" charset="0"/>
              </a:defRPr>
            </a:lvl1pPr>
          </a:lstStyle>
          <a:p>
            <a:fld id="{32AA8A44-3F8B-4801-91F4-E7A1FBF97AC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1F4C8281-3724-42BA-BB1A-5E035BA54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9727" y="4768318"/>
            <a:ext cx="6614819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DIN OT" panose="020B0504020201010104" pitchFamily="34" charset="0"/>
              </a:defRPr>
            </a:lvl1pPr>
          </a:lstStyle>
          <a:p>
            <a:endParaRPr lang="de-DE" dirty="0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F599A3A-667A-4AB8-A246-76DBAB0C4412}"/>
              </a:ext>
            </a:extLst>
          </p:cNvPr>
          <p:cNvCxnSpPr>
            <a:cxnSpLocks/>
          </p:cNvCxnSpPr>
          <p:nvPr userDrawn="1"/>
        </p:nvCxnSpPr>
        <p:spPr>
          <a:xfrm>
            <a:off x="8669926" y="4768318"/>
            <a:ext cx="0" cy="27384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 descr="Ein Bild, das Uhr, sitzend, Schild, Anzeige enthält.&#10;&#10;Automatisch generierte Beschreibung">
            <a:extLst>
              <a:ext uri="{FF2B5EF4-FFF2-40B4-BE49-F238E27FC236}">
                <a16:creationId xmlns:a16="http://schemas.microsoft.com/office/drawing/2014/main" id="{304B4853-A7E4-4C49-BCFF-DC2ED4BF0F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3680" y="4798800"/>
            <a:ext cx="1022889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87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758">
          <p15:clr>
            <a:srgbClr val="FBAE40"/>
          </p15:clr>
        </p15:guide>
        <p15:guide id="6" pos="29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000250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16" imgH="216" progId="TCLayout.ActiveDocument.1">
                  <p:embed/>
                </p:oleObj>
              </mc:Choice>
              <mc:Fallback>
                <p:oleObj name="think-cell Folie" r:id="rId17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3850" y="1200151"/>
            <a:ext cx="8496622" cy="3387724"/>
          </a:xfrm>
          <a:prstGeom prst="rect">
            <a:avLst/>
          </a:prstGeom>
        </p:spPr>
        <p:txBody>
          <a:bodyPr vert="horz" lIns="108000" tIns="45720" rIns="91440" bIns="4572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35696" y="4818186"/>
            <a:ext cx="56886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212D38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812360" y="4818186"/>
            <a:ext cx="100811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212D38"/>
                </a:solidFill>
              </a:defRPr>
            </a:lvl1pPr>
          </a:lstStyle>
          <a:p>
            <a:fld id="{32AA8A44-3F8B-4801-91F4-E7A1FBF97AC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itelplatzhalter 10"/>
          <p:cNvSpPr>
            <a:spLocks noGrp="1"/>
          </p:cNvSpPr>
          <p:nvPr>
            <p:ph type="title"/>
          </p:nvPr>
        </p:nvSpPr>
        <p:spPr>
          <a:xfrm>
            <a:off x="323850" y="123478"/>
            <a:ext cx="8496622" cy="9353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81320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92" r:id="rId5"/>
    <p:sldLayoutId id="214748369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DIN OT" panose="020B0504020201010104" pitchFamily="34" charset="0"/>
          <a:ea typeface="+mn-ea"/>
          <a:cs typeface="+mn-cs"/>
        </a:defRPr>
      </a:lvl1pPr>
      <a:lvl2pPr marL="447675" indent="-2667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DIN OT" panose="020B0504020201010104" pitchFamily="34" charset="0"/>
          <a:ea typeface="+mn-ea"/>
          <a:cs typeface="+mn-cs"/>
        </a:defRPr>
      </a:lvl2pPr>
      <a:lvl3pPr marL="719138" indent="-271463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DIN OT" panose="020B0504020201010104" pitchFamily="34" charset="0"/>
          <a:ea typeface="+mn-ea"/>
          <a:cs typeface="+mn-cs"/>
        </a:defRPr>
      </a:lvl3pPr>
      <a:lvl4pPr marL="985838" indent="-2667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chemeClr val="tx2"/>
          </a:solidFill>
          <a:latin typeface="DIN OT" panose="020B0504020201010104" pitchFamily="34" charset="0"/>
          <a:ea typeface="+mn-ea"/>
          <a:cs typeface="+mn-cs"/>
        </a:defRPr>
      </a:lvl4pPr>
      <a:lvl5pPr marL="116681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200" kern="1200">
          <a:solidFill>
            <a:schemeClr val="tx2"/>
          </a:solidFill>
          <a:latin typeface="DIN OT" panose="020B05040202010101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DB296A0C-20D9-4ED9-8082-601F7FD0AD7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05.07.2023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5E4397F-128C-4627-B6FB-22B7C1E3C73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AT" dirty="0" err="1"/>
              <a:t>ProjectTo</a:t>
            </a:r>
            <a:r>
              <a:rPr lang="de-AT" dirty="0"/>
              <a:t>, Update-</a:t>
            </a:r>
            <a:r>
              <a:rPr lang="de-AT" dirty="0" err="1"/>
              <a:t>Cascades</a:t>
            </a:r>
            <a:r>
              <a:rPr lang="de-AT" dirty="0"/>
              <a:t>, </a:t>
            </a:r>
            <a:r>
              <a:rPr lang="de-AT" dirty="0" err="1"/>
              <a:t>UnitTests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8027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EntityFramework</a:t>
            </a:r>
            <a:r>
              <a:rPr lang="de-AT" dirty="0"/>
              <a:t> </a:t>
            </a:r>
            <a:r>
              <a:rPr lang="de-AT" dirty="0" err="1"/>
              <a:t>Inser</a:t>
            </a:r>
            <a:r>
              <a:rPr lang="de-AT" dirty="0"/>
              <a:t>/Update </a:t>
            </a:r>
            <a:r>
              <a:rPr lang="de-AT" dirty="0" err="1"/>
              <a:t>Cascades</a:t>
            </a:r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Anders als </a:t>
            </a:r>
            <a:r>
              <a:rPr lang="de-AT" dirty="0" err="1"/>
              <a:t>Hybernate</a:t>
            </a:r>
            <a:r>
              <a:rPr lang="de-AT" dirty="0"/>
              <a:t> bietet EF keine Cascade-Typen für Insert/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DbContext</a:t>
            </a:r>
            <a:r>
              <a:rPr lang="de-AT" dirty="0"/>
              <a:t>: Add =&gt; fügt alle Kinder mit </a:t>
            </a:r>
            <a:r>
              <a:rPr lang="de-AT" dirty="0" err="1"/>
              <a:t>Id</a:t>
            </a:r>
            <a:r>
              <a:rPr lang="de-AT" dirty="0"/>
              <a:t>=0 zur DB hinzu</a:t>
            </a:r>
          </a:p>
          <a:p>
            <a:pPr marL="742950" lvl="1" indent="-285750">
              <a:buFont typeface="Symbol" panose="05050102010706020507" pitchFamily="18" charset="2"/>
              <a:buChar char="Þ"/>
            </a:pPr>
            <a:r>
              <a:rPr lang="de-AT" dirty="0"/>
              <a:t>Liefert einen Fehler wenn </a:t>
            </a:r>
            <a:r>
              <a:rPr lang="de-AT" dirty="0" err="1"/>
              <a:t>Id</a:t>
            </a:r>
            <a:r>
              <a:rPr lang="de-AT" dirty="0"/>
              <a:t> vergeben ist, weil dadurch ein INSERT(ID).. Gemacht werden würde und das in SQL nicht erlaubt ist (außer explizit definier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DbContext</a:t>
            </a:r>
            <a:r>
              <a:rPr lang="de-AT" dirty="0"/>
              <a:t>: </a:t>
            </a:r>
            <a:r>
              <a:rPr lang="de-AT" dirty="0" err="1"/>
              <a:t>Attach</a:t>
            </a:r>
            <a:r>
              <a:rPr lang="de-AT" dirty="0"/>
              <a:t> =&gt; Funktioniert sowohl mit </a:t>
            </a:r>
            <a:r>
              <a:rPr lang="de-AT" dirty="0" err="1"/>
              <a:t>Id</a:t>
            </a:r>
            <a:r>
              <a:rPr lang="de-AT" dirty="0"/>
              <a:t>=0 und </a:t>
            </a:r>
            <a:r>
              <a:rPr lang="de-AT" dirty="0" err="1"/>
              <a:t>Id</a:t>
            </a:r>
            <a:r>
              <a:rPr lang="de-AT" dirty="0"/>
              <a:t>!=0. Geänderte Kind-Properties werden nicht berücksichtigt</a:t>
            </a:r>
          </a:p>
        </p:txBody>
      </p:sp>
    </p:spTree>
    <p:extLst>
      <p:ext uri="{BB962C8B-B14F-4D97-AF65-F5344CB8AC3E}">
        <p14:creationId xmlns:p14="http://schemas.microsoft.com/office/powerpoint/2010/main" val="3893629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ögliche Problemlösu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8AB7E09-2D68-51DB-CE08-BA441FB365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058863"/>
            <a:ext cx="6538527" cy="1112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9445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Zusatz: Change-Track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9E0BC2-2C21-9F88-F932-A2336EDA0A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915566"/>
            <a:ext cx="5578323" cy="34216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6D66AC7-7C98-07FC-125A-5AB30AEDA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8741" y="149026"/>
            <a:ext cx="3116850" cy="142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6653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UnitTests</a:t>
            </a:r>
            <a:r>
              <a:rPr lang="de-AT" dirty="0"/>
              <a:t> - Framework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MSTest</a:t>
            </a:r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NUnit</a:t>
            </a:r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xUnit</a:t>
            </a:r>
            <a:r>
              <a:rPr lang="de-AT" dirty="0"/>
              <a:t> =&gt; mein </a:t>
            </a:r>
            <a:r>
              <a:rPr lang="de-AT" dirty="0" err="1"/>
              <a:t>bevozugtes</a:t>
            </a:r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Microsoft.EntityFrameworkCore.InMemory</a:t>
            </a:r>
            <a:r>
              <a:rPr lang="de-AT" dirty="0"/>
              <a:t> =&gt; um die DB zu abstrahi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Moq</a:t>
            </a:r>
            <a:r>
              <a:rPr lang="de-AT" dirty="0"/>
              <a:t> =&gt; wird verwendet um Abhängigkeiten zu abstrahi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Shouldly</a:t>
            </a:r>
            <a:r>
              <a:rPr lang="de-AT" dirty="0"/>
              <a:t> =&gt; spezielle </a:t>
            </a:r>
            <a:r>
              <a:rPr lang="de-AT" dirty="0" err="1"/>
              <a:t>Asserts</a:t>
            </a:r>
            <a:r>
              <a:rPr lang="de-AT" dirty="0"/>
              <a:t> für saubere Fehlermeldungen</a:t>
            </a:r>
          </a:p>
        </p:txBody>
      </p:sp>
    </p:spTree>
    <p:extLst>
      <p:ext uri="{BB962C8B-B14F-4D97-AF65-F5344CB8AC3E}">
        <p14:creationId xmlns:p14="http://schemas.microsoft.com/office/powerpoint/2010/main" val="13954690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UnitTests</a:t>
            </a:r>
            <a:r>
              <a:rPr lang="de-AT" dirty="0"/>
              <a:t> - Grundlage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Abhängigkeiten müssen über DI kom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InMemory</a:t>
            </a:r>
            <a:r>
              <a:rPr lang="de-AT" dirty="0"/>
              <a:t> Datenbank verwe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Immer genau 1 Sache tes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Tests so einfach </a:t>
            </a:r>
            <a:r>
              <a:rPr lang="de-AT"/>
              <a:t>wie möglich halten</a:t>
            </a:r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AAA Prinzi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dirty="0" err="1"/>
              <a:t>Arrange</a:t>
            </a:r>
            <a:endParaRPr lang="de-AT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dirty="0"/>
              <a:t>A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AT" dirty="0" err="1"/>
              <a:t>Asser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77999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Theme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Automapper: </a:t>
            </a:r>
            <a:r>
              <a:rPr lang="de-AT" dirty="0" err="1"/>
              <a:t>ProjectTo</a:t>
            </a:r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 err="1"/>
              <a:t>EntityFramework</a:t>
            </a:r>
            <a:r>
              <a:rPr lang="de-AT" dirty="0"/>
              <a:t> Insert/Update </a:t>
            </a:r>
            <a:r>
              <a:rPr lang="de-AT" dirty="0" err="1"/>
              <a:t>Cascades</a:t>
            </a:r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Unit-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4247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ProjectTo</a:t>
            </a:r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Feature von </a:t>
            </a:r>
            <a:r>
              <a:rPr lang="de-AT" dirty="0" err="1"/>
              <a:t>AutoMapper</a:t>
            </a:r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Kann auf </a:t>
            </a:r>
            <a:r>
              <a:rPr lang="de-AT" dirty="0" err="1"/>
              <a:t>IQueryable</a:t>
            </a:r>
            <a:r>
              <a:rPr lang="de-AT" dirty="0"/>
              <a:t>&lt;&gt; Objekte angewendet 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Liefert </a:t>
            </a:r>
            <a:r>
              <a:rPr lang="de-AT" dirty="0" err="1"/>
              <a:t>IQueryable</a:t>
            </a:r>
            <a:r>
              <a:rPr lang="de-AT" dirty="0"/>
              <a:t>&lt;&gt; Objekte zurück =&gt; ändert dadurch SQL-Abf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647708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AutoMapper-Configuration</a:t>
            </a:r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de-AT" dirty="0" err="1"/>
              <a:t>Singelton</a:t>
            </a:r>
            <a:endParaRPr lang="de-AT" dirty="0"/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AT" dirty="0"/>
              <a:t>Kann auf mehrere Profile aufgeteilt werden</a:t>
            </a: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AT" dirty="0"/>
              <a:t>Kann mittels </a:t>
            </a:r>
            <a:r>
              <a:rPr lang="de-AT" dirty="0" err="1"/>
              <a:t>Nuget</a:t>
            </a:r>
            <a:r>
              <a:rPr lang="de-AT" dirty="0"/>
              <a:t> </a:t>
            </a:r>
            <a:r>
              <a:rPr lang="de-AT" i="1" dirty="0" err="1"/>
              <a:t>AutoMapper.Extensions.Microsoft.DependencyInjection</a:t>
            </a:r>
            <a:r>
              <a:rPr lang="de-AT" i="1" dirty="0"/>
              <a:t> </a:t>
            </a:r>
            <a:r>
              <a:rPr lang="de-AT" dirty="0"/>
              <a:t>eingebunden werden</a:t>
            </a:r>
            <a:endParaRPr lang="de-AT" i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AT" dirty="0"/>
              <a:t>Darf keine komplexen Transformationen enthalten</a:t>
            </a: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AT" dirty="0" err="1"/>
              <a:t>ConvertUsing</a:t>
            </a:r>
            <a:r>
              <a:rPr lang="de-AT" dirty="0"/>
              <a:t> ist z.B. ein Problem (</a:t>
            </a:r>
            <a:r>
              <a:rPr lang="de-AT" dirty="0" err="1"/>
              <a:t>TypeConverter</a:t>
            </a:r>
            <a:r>
              <a:rPr lang="de-AT" dirty="0"/>
              <a:t>-Klasse)</a:t>
            </a: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AT" dirty="0"/>
              <a:t>Alle Transformationen müssen als Expression vorliegen</a:t>
            </a:r>
          </a:p>
          <a:p>
            <a:pPr marL="742950" lvl="1" indent="-285750">
              <a:buFont typeface="Symbol" panose="05050102010706020507" pitchFamily="18" charset="2"/>
              <a:buChar char="Þ"/>
            </a:pPr>
            <a:r>
              <a:rPr lang="de-AT" dirty="0"/>
              <a:t>im allgemeinen sollen Objekte nie selbst angelegt werden</a:t>
            </a:r>
          </a:p>
          <a:p>
            <a:pPr marL="742950" lvl="1" indent="-285750">
              <a:buFont typeface="Symbol" panose="05050102010706020507" pitchFamily="18" charset="2"/>
              <a:buChar char="-"/>
            </a:pPr>
            <a:endParaRPr lang="de-AT" dirty="0"/>
          </a:p>
          <a:p>
            <a:pPr marL="285750" indent="-285750">
              <a:buFont typeface="Symbol" panose="05050102010706020507" pitchFamily="18" charset="2"/>
              <a:buChar char="-"/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238865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Verwendu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AF2B63-5245-8036-349C-318D18172B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843558"/>
            <a:ext cx="4541914" cy="269009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D8BD61F-FEA6-4F96-DD61-0A949B7346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824" y="3292318"/>
            <a:ext cx="5860288" cy="99068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5D5B07-F20E-976E-5545-B1667470E9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2080" y="267494"/>
            <a:ext cx="2922915" cy="2741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505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Problem mit Navigation-Properties bei DTO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50520" y="1131590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3039B9-2DE3-A90D-2B3C-79FE2AC26D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865" y="987574"/>
            <a:ext cx="3810330" cy="25148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0646AF-F229-D850-BC60-C61A4140EE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5409" y="1000814"/>
            <a:ext cx="3558848" cy="127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038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50520" y="1131590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31DAEFD-1F98-C990-6E40-ED33501E45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032" y="195486"/>
            <a:ext cx="5273497" cy="41303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2DAE53E-6B18-77DE-0ADE-4312549EC3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294554"/>
            <a:ext cx="4229467" cy="3932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78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Best-Practic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Mapper-</a:t>
            </a:r>
            <a:r>
              <a:rPr lang="de-AT" dirty="0" err="1"/>
              <a:t>Configuration</a:t>
            </a:r>
            <a:r>
              <a:rPr lang="de-AT" dirty="0"/>
              <a:t> in Profile auftei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Falls möglich </a:t>
            </a:r>
            <a:r>
              <a:rPr lang="de-AT" dirty="0" err="1"/>
              <a:t>CreateProjection</a:t>
            </a:r>
            <a:r>
              <a:rPr lang="de-AT" dirty="0"/>
              <a:t> anstatt </a:t>
            </a:r>
            <a:r>
              <a:rPr lang="de-AT" dirty="0" err="1"/>
              <a:t>CreateMap</a:t>
            </a:r>
            <a:r>
              <a:rPr lang="de-AT" dirty="0"/>
              <a:t> verwenden</a:t>
            </a:r>
          </a:p>
          <a:p>
            <a:pPr marL="742950" lvl="1" indent="-285750">
              <a:buFont typeface="Symbol" panose="05050102010706020507" pitchFamily="18" charset="2"/>
              <a:buChar char="Þ"/>
            </a:pPr>
            <a:r>
              <a:rPr lang="de-AT" dirty="0"/>
              <a:t>Es ist nicht möglich beides für eine </a:t>
            </a:r>
            <a:r>
              <a:rPr lang="de-AT" dirty="0" err="1"/>
              <a:t>Conversion</a:t>
            </a:r>
            <a:r>
              <a:rPr lang="de-AT" dirty="0"/>
              <a:t> zu erstell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Transformationen im Destination-Model z.B. im Setter durchfüh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Beim Repository-Pattern </a:t>
            </a:r>
            <a:r>
              <a:rPr lang="de-AT" dirty="0" err="1"/>
              <a:t>IQueryable</a:t>
            </a:r>
            <a:r>
              <a:rPr lang="de-AT" dirty="0"/>
              <a:t>&lt;&gt; anstatt Liste liefern</a:t>
            </a:r>
          </a:p>
        </p:txBody>
      </p:sp>
      <p:pic>
        <p:nvPicPr>
          <p:cNvPr id="5" name="Picture 4" descr="A diagram of a service layer&#10;&#10;Description automatically generated with low confidence">
            <a:extLst>
              <a:ext uri="{FF2B5EF4-FFF2-40B4-BE49-F238E27FC236}">
                <a16:creationId xmlns:a16="http://schemas.microsoft.com/office/drawing/2014/main" id="{400D5C01-07F5-E316-5787-A2B669AB1A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664" y="2685330"/>
            <a:ext cx="5631160" cy="2098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744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B1D0BE8-B0B7-411B-8916-D104CF6E1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Vor/Nachte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D404E0-922A-A6A8-7E44-AB685A174EA7}"/>
              </a:ext>
            </a:extLst>
          </p:cNvPr>
          <p:cNvSpPr txBox="1"/>
          <p:nvPr/>
        </p:nvSpPr>
        <p:spPr>
          <a:xfrm>
            <a:off x="395536" y="1131590"/>
            <a:ext cx="8280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/>
              <a:t>+ Sehr übersichtlich =&gt; Abhängigkeiten sind bei den DTOs definiert und nicht implizit über Includes im Service enthalten</a:t>
            </a:r>
          </a:p>
          <a:p>
            <a:r>
              <a:rPr lang="de-AT" dirty="0"/>
              <a:t>+ Es werden nur die benötigten Daten aus der DB abgefragt</a:t>
            </a:r>
          </a:p>
          <a:p>
            <a:endParaRPr lang="de-AT" dirty="0"/>
          </a:p>
          <a:p>
            <a:pPr marL="285750" indent="-285750">
              <a:buFontTx/>
              <a:buChar char="-"/>
            </a:pPr>
            <a:r>
              <a:rPr lang="de-AT" dirty="0"/>
              <a:t>Komplexe Mappings sind schwierig umsetzbar</a:t>
            </a:r>
          </a:p>
          <a:p>
            <a:pPr marL="285750" indent="-285750">
              <a:buFontTx/>
              <a:buChar char="-"/>
            </a:pPr>
            <a:r>
              <a:rPr lang="de-AT" dirty="0"/>
              <a:t>Fehler sind schwer zu finden/lösen =&gt; durch Expression-</a:t>
            </a:r>
            <a:r>
              <a:rPr lang="de-AT" dirty="0" err="1"/>
              <a:t>Tree</a:t>
            </a:r>
            <a:r>
              <a:rPr lang="de-AT" dirty="0"/>
              <a:t> “obfuskierte“ Fehlermeldungen</a:t>
            </a:r>
          </a:p>
          <a:p>
            <a:pPr marL="285750" indent="-285750">
              <a:buFontTx/>
              <a:buChar char="-"/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86588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Benutzerdefiniert 4">
      <a:dk1>
        <a:srgbClr val="404040"/>
      </a:dk1>
      <a:lt1>
        <a:sysClr val="window" lastClr="FFFFFF"/>
      </a:lt1>
      <a:dk2>
        <a:srgbClr val="2E3B49"/>
      </a:dk2>
      <a:lt2>
        <a:srgbClr val="DDDD27"/>
      </a:lt2>
      <a:accent1>
        <a:srgbClr val="D7D5CD"/>
      </a:accent1>
      <a:accent2>
        <a:srgbClr val="EFEEEB"/>
      </a:accent2>
      <a:accent3>
        <a:srgbClr val="8D949C"/>
      </a:accent3>
      <a:accent4>
        <a:srgbClr val="AB1815"/>
      </a:accent4>
      <a:accent5>
        <a:srgbClr val="3278CC"/>
      </a:accent5>
      <a:accent6>
        <a:srgbClr val="4492D8"/>
      </a:accent6>
      <a:hlink>
        <a:srgbClr val="3278CC"/>
      </a:hlink>
      <a:folHlink>
        <a:srgbClr val="3278CC"/>
      </a:folHlink>
    </a:clrScheme>
    <a:fontScheme name="Benutzerdefiniert 1">
      <a:majorFont>
        <a:latin typeface="DIN OT"/>
        <a:ea typeface=""/>
        <a:cs typeface=""/>
      </a:majorFont>
      <a:minorFont>
        <a:latin typeface="DIN O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so-vorlage.pptx" id="{5FAFA372-4561-4FCA-A7BC-08D806FB1D70}" vid="{3FC94E04-111D-4509-9471-B162B5111FE1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86960559BD43479F9A3BDDE2A22E19" ma:contentTypeVersion="16" ma:contentTypeDescription="Ein neues Dokument erstellen." ma:contentTypeScope="" ma:versionID="7a9e9fd4e8db4fe5c68999c71ac80db2">
  <xsd:schema xmlns:xsd="http://www.w3.org/2001/XMLSchema" xmlns:xs="http://www.w3.org/2001/XMLSchema" xmlns:p="http://schemas.microsoft.com/office/2006/metadata/properties" xmlns:ns2="36797564-01a1-4223-ab62-aba27a77ef4e" xmlns:ns3="f41101a1-9772-487e-885d-82e476ccfdce" targetNamespace="http://schemas.microsoft.com/office/2006/metadata/properties" ma:root="true" ma:fieldsID="0c61ccd7bf3b91c866a3becc9cea1c7c" ns2:_="" ns3:_="">
    <xsd:import namespace="36797564-01a1-4223-ab62-aba27a77ef4e"/>
    <xsd:import namespace="f41101a1-9772-487e-885d-82e476ccfd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797564-01a1-4223-ab62-aba27a77ef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e7fd3029-bf35-405f-b484-bf4a758d70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101a1-9772-487e-885d-82e476ccfdc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04154f9-7f28-4d57-b8e8-742afe4f41e5}" ma:internalName="TaxCatchAll" ma:showField="CatchAllData" ma:web="f41101a1-9772-487e-885d-82e476ccfd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41101a1-9772-487e-885d-82e476ccfdce" xsi:nil="true"/>
    <lcf76f155ced4ddcb4097134ff3c332f xmlns="36797564-01a1-4223-ab62-aba27a77ef4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326F573-A444-4073-ADD8-8EB4AB164B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797564-01a1-4223-ab62-aba27a77ef4e"/>
    <ds:schemaRef ds:uri="f41101a1-9772-487e-885d-82e476ccfd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8E61C8-0C4D-41BC-973D-5EE331B253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6363EC-4A54-4AE1-95A9-9F85FF7B80EA}">
  <ds:schemaRefs>
    <ds:schemaRef ds:uri="http://schemas.microsoft.com/office/2006/documentManagement/types"/>
    <ds:schemaRef ds:uri="http://purl.org/dc/dcmitype/"/>
    <ds:schemaRef ds:uri="36797564-01a1-4223-ab62-aba27a77ef4e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f41101a1-9772-487e-885d-82e476ccfdce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sprechung</Template>
  <TotalTime>0</TotalTime>
  <Words>329</Words>
  <Application>Microsoft Office PowerPoint</Application>
  <PresentationFormat>On-screen Show (16:9)</PresentationFormat>
  <Paragraphs>56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DIN OT</vt:lpstr>
      <vt:lpstr>Symbol</vt:lpstr>
      <vt:lpstr>Wingdings</vt:lpstr>
      <vt:lpstr>Larissa</vt:lpstr>
      <vt:lpstr>think-cell Folie</vt:lpstr>
      <vt:lpstr>ProjectTo, Update-Cascades, UnitTests</vt:lpstr>
      <vt:lpstr>Themen</vt:lpstr>
      <vt:lpstr>ProjectTo</vt:lpstr>
      <vt:lpstr>AutoMapper-Configuration</vt:lpstr>
      <vt:lpstr>Verwendung</vt:lpstr>
      <vt:lpstr>Problem mit Navigation-Properties bei DTOs</vt:lpstr>
      <vt:lpstr>PowerPoint Presentation</vt:lpstr>
      <vt:lpstr>Best-Practices</vt:lpstr>
      <vt:lpstr>Vor/Nachteile</vt:lpstr>
      <vt:lpstr>EntityFramework Inser/Update Cascades</vt:lpstr>
      <vt:lpstr>Mögliche Problemlösung</vt:lpstr>
      <vt:lpstr>Zusatz: Change-Tracking</vt:lpstr>
      <vt:lpstr>UnitTests - Frameworks</vt:lpstr>
      <vt:lpstr>UnitTests - Grundlag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To, Update-Cascades, UnitTests</dc:title>
  <dc:creator>Markus Schmid</dc:creator>
  <cp:lastModifiedBy>Markus Schmid</cp:lastModifiedBy>
  <cp:revision>1</cp:revision>
  <dcterms:created xsi:type="dcterms:W3CDTF">2023-06-29T05:21:56Z</dcterms:created>
  <dcterms:modified xsi:type="dcterms:W3CDTF">2023-06-30T11:0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6960559BD43479F9A3BDDE2A22E19</vt:lpwstr>
  </property>
</Properties>
</file>